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5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8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  <p:sldMasterId id="2147483682" r:id="rId4"/>
  </p:sldMasterIdLst>
  <p:notesMasterIdLst>
    <p:notesMasterId r:id="rId12"/>
  </p:notesMasterIdLst>
  <p:sldIdLst>
    <p:sldId id="263" r:id="rId5"/>
    <p:sldId id="259" r:id="rId6"/>
    <p:sldId id="260" r:id="rId7"/>
    <p:sldId id="264" r:id="rId8"/>
    <p:sldId id="256" r:id="rId9"/>
    <p:sldId id="257" r:id="rId10"/>
    <p:sldId id="258" r:id="rId11"/>
  </p:sldIdLst>
  <p:sldSz cx="12192000" cy="6858000"/>
  <p:notesSz cx="6858000" cy="9144000"/>
  <p:custDataLst>
    <p:tags r:id="rId13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845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7D0C6A-CE18-453C-88F5-42355B1DAA53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70445C-1903-4A5C-BB2C-7C1F873F93F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07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33228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224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0975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73491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7001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70445C-1903-4A5C-BB2C-7C1F873F93FD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1430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3425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B187B1-2215-4DDB-985E-1DA1580C0A1B}" type="slidenum">
              <a:rPr kumimoji="0" lang="en-GB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13425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663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3.xml"/><Relationship Id="rId7" Type="http://schemas.openxmlformats.org/officeDocument/2006/relationships/image" Target="../media/image3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5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5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7.xml"/><Relationship Id="rId7" Type="http://schemas.openxmlformats.org/officeDocument/2006/relationships/image" Target="../media/image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9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1.xml"/><Relationship Id="rId7" Type="http://schemas.openxmlformats.org/officeDocument/2006/relationships/image" Target="../media/image6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43B9D27-6996-4AEC-B720-017625CC2F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86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43B9D27-6996-4AEC-B720-017625CC2F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A167C33-C087-4DC4-ADFD-5D9FB62F8F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9D110B-3CB1-44FB-BD8C-C5D3751603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7EF98-C4F4-4531-B712-EF2C92CB1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157AC-C090-4AF5-980C-969195B97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DC643-DFCF-4FCD-A631-02BE29F19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FD6E9-4F8B-4BA0-AE56-BE4F01840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2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72C03C-9CBC-41AF-BF9D-3758ED4B99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97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72C03C-9CBC-41AF-BF9D-3758ED4B99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B33D67E-BE1B-4FC2-995E-0F285305BA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EC392-3F03-4658-AEAD-B547C1F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60AF3B-001D-42CC-B3E2-3233D8015E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594C73-0466-4831-81E5-6EAF2504D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CAEBD-C38A-417F-BE1A-067C1EDEA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CE357-78AA-4463-A3D0-E16AD7CDC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498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0EC827-825F-42C7-BE50-46098B27B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408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0EC827-825F-42C7-BE50-46098B27B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FEEF7BA-1B6B-440E-9A9C-894ACF351E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070FEE-11B8-448C-84CE-4420C002E2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BE7EFA-893B-4EAB-AE25-14A3BB232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369FF-B9EC-460D-BF78-76CB14B72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D02CA-8BC6-432B-92C1-4FBC347B9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92710-579A-4375-804B-53E031B5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359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006120-AFC0-4435-8D58-A4957AF3A4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5846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006120-AFC0-4435-8D58-A4957AF3A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2D1B487-6CFA-4BED-BA15-5BEE0198AE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551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C1B8B4-397E-4B2A-A3DD-90C2942A4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C1B8B4-397E-4B2A-A3DD-90C2942A4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AED5A1-57F9-47F5-A89E-290F97CD21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741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565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EBA20F-5859-4718-898F-8A21C03489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C9A262-9477-4B56-97EA-5EFAC0EAD8B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EACED2-C9E5-4041-8D12-75F4B735A944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4B7BDE-12A3-4F9A-A821-0FCC5DB2E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916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4B7BDE-12A3-4F9A-A821-0FCC5DB2E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8E4290F-1159-452A-8B22-DEBEA27C90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18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8B61D7-5EEC-43EC-A7DE-FF25DE95A5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4690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8B61D7-5EEC-43EC-A7DE-FF25DE95A5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DA093C9-EAE2-48BC-BA50-7EA4BC8B5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8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84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678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4F14FE-2EBC-4F07-BEB0-85C972922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872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4F14FE-2EBC-4F07-BEB0-85C972922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BBB2E1F-BA20-4F1F-9917-DBD7F6395D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34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953AF0-C9E6-4AEE-AC2B-DBB064ECDB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57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953AF0-C9E6-4AEE-AC2B-DBB064ECDB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8650248-7EAD-4210-A0EA-B99E975D34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49DF9-D5AF-405F-8373-EF7C0C04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B5E3BA-6CB1-4D67-BA72-24A5FB02E9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A8EF7-6561-4308-A59F-D288FB318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6D94B5-229C-497C-84EA-FC9FFBF79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EB293-BCBB-411B-AFAD-14497831C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369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0F6901-6E7E-4EEE-AC14-1329555C45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55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0F6901-6E7E-4EEE-AC14-1329555C4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1C7E9DF-C143-4DC4-971C-33999EA626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548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6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244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3CD73D-F3FB-4086-A041-7EE213BEE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19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3CD73D-F3FB-4086-A041-7EE213BEE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A9962D-321E-43FB-B027-FFECDF86E72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4" y="2853633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70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70" y="3909055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60337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1E585F-4ABB-4EBC-8279-975DD6795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893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1E585F-4ABB-4EBC-8279-975DD6795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9B44BD0-48F6-4BB4-9473-B975E9013D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4" y="2948949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9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9" y="4004371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5758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25777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3" marR="0" indent="-239173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09" indent="-234939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282" indent="-234939" algn="l" defTabSz="71539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03" indent="-234939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2" indent="-380981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EBA20F-5859-4718-898F-8A21C03489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3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C9A262-9477-4B56-97EA-5EFAC0EAD8B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14801" y="6537018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EACED2-C9E5-4041-8D12-75F4B735A944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157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3BCF76-A79E-495B-A6C9-D168096618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16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3BCF76-A79E-495B-A6C9-D168096618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6BA6565-CE7B-47B5-91C6-94B7800DDE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3" marR="0" indent="-239173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09" indent="-234939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282" indent="-234939" algn="l" defTabSz="71539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03" indent="-234939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2" indent="-380981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8" y="6537018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270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3DCE79-73E2-488F-941E-3682B7125E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250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3DCE79-73E2-488F-941E-3682B7125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813C21-32F1-4159-8CFF-0568F7B6D8D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8" y="6537018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942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1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81" indent="-380981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3" marR="0" indent="-239173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27" indent="-23705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15" indent="-228589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03" indent="-228589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2" indent="-380981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8" y="6537018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19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89" indent="-228589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1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81" indent="-380981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1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3" marR="0" indent="-239173" algn="l" defTabSz="60957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27" indent="-23705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15" indent="-228589" algn="l" defTabSz="715397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03" indent="-228589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2" indent="-380981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60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3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1" y="6537018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1296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74AA49-93B8-47F3-9663-A50A88856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500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74AA49-93B8-47F3-9663-A50A88856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1309DB2-0936-446E-ADDE-E34961FAF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7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7" y="2566593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7" y="3430689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6" y="4294785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6" y="5158881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3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1" y="6537018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828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BE7F8AD-A611-4E14-8ADC-F088C7F09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63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BE7F8AD-A611-4E14-8ADC-F088C7F09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E1171F-D940-4CBD-B5FF-EB69EFACFD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75E39D-47C0-4528-B591-63845FD2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E4810-0079-433F-BAD0-730FD6D9F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E1950-9F9B-4128-A387-5487A41E6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F5A1D-EB26-408C-9B65-5608A118B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39306-6B6B-4647-82F5-DD47B50EC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07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11BD27-A2C5-4DDF-B0C7-6C3F7245FF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0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11BD27-A2C5-4DDF-B0C7-6C3F7245F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835EB8B-FAFD-43F2-A864-7DFA7DDCB2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4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4" y="2566593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4" y="3430689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2" y="4294785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2" y="5158881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2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8" y="6537018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6447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3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5" y="5220427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8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400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A26FB1-48F3-47D3-B34D-B6BEBCFA70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210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3A26FB1-48F3-47D3-B34D-B6BEBCFA70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03E515-4F10-47FF-B853-4A0344E783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459511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AAD8CC-FE59-404D-AB94-96C80BC23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096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AAD8CC-FE59-404D-AB94-96C80BC23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FF974B-287A-4DBE-B8F1-4B0C00CA73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911292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858353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709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25CA28-3538-4857-A05D-F07A6ABDB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10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25CA28-3538-4857-A05D-F07A6ABDB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7D107FE-95B1-4AC7-8B77-F4E26B594E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2379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A132F34-60AC-4129-96A9-263D44032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34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A132F34-60AC-4129-96A9-263D44032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335F7DB-118E-421B-91B8-5B03EFC126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6699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2535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9104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C23241-8B2F-4E95-8224-4E52BAB1F3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55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C23241-8B2F-4E95-8224-4E52BAB1F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EE848C-E506-4156-B343-4784F79F7B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641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B3A1F9-98AF-4899-BE9F-62774AFC0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139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1B3A1F9-98AF-4899-BE9F-62774AFC0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ACB471B-1E2F-4E29-9167-F4B85BEC5A5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39F440-6EC8-4399-8C59-D0196E0DD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ACAF6-18E5-4B47-9FB2-7D802794A7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30B4C5-2224-4176-AB7C-61A54E42AF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52D51-81B6-4D26-A8EF-F02649A0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210124-0D51-41A1-8F5F-70365CC2E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83B7B-75D3-4BE0-B446-7BDFC1D5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9138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94C805-003E-4A43-BEC5-C6446FB2B9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65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94C805-003E-4A43-BEC5-C6446FB2B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512EBD-CBC7-466C-989F-815A79EEE3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7777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49214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06931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00172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82375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5535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820FC48-50C4-48FC-8868-92F55B57D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989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820FC48-50C4-48FC-8868-92F55B57D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B31BE68-9782-4740-A0F4-8A77DD05DBB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0BF52-BDD8-482D-98DB-0330897D8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2DF292-716C-4126-9F29-0CAF0D61D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603AB2-6635-48DC-8A39-D8EAE1AF1A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711D59-2995-4B66-B4BD-17ED07323E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73D1B2-CDED-487D-8710-D398A512C0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F6036E-21B3-4310-9610-41C31AA0F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3843A-CB03-44CA-8FCD-802AA61B2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8D964B-F2AE-433A-935E-3D56C3C77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197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23AAEC-0AFA-4B94-A4FA-8EBE7734A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488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23AAEC-0AFA-4B94-A4FA-8EBE7734A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446B829-D782-44F7-8D0C-2870DCD68C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5BED4-B67D-4615-A80B-1137F563B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57B4A7-1CCF-4923-AD7E-CE851F1C3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A6EE9C-2F8F-4F2F-AD99-406DAA31B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840FE0-93B9-4B54-A932-5B10BB3E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769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6AC4F-FB8C-40FF-95B6-0CFE23EDE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DBED09-0C02-4CA1-80F1-9D0F1FCE5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40002-5755-4276-8560-012BF9A8B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451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8CE1C41-BCC6-4152-B1D7-5F27020182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917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8CE1C41-BCC6-4152-B1D7-5F2702018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A13950-5B12-4A33-9116-730B7D20C3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B8BFF2-BB4C-4063-A35F-282492645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A88D3A-D109-400A-A17B-A05354B3C4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9EA05-B050-4C29-AB71-133F76D4D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9E7BAC-6185-4808-9AE8-6C3701737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BF8CC1-9B1F-43A8-AD82-8326E77E0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2247DE-4817-4245-89F4-7B3DBA4DD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274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082D4B-FB8C-45AD-9861-747F06A328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352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082D4B-FB8C-45AD-9861-747F06A328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8A956B2-FBC1-4A9D-900C-7BD4487612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0BA6-F3F6-4F18-86EF-1AD981A33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AA915E-4F88-41A0-920F-93EAF50BE5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29918-1BC8-4C07-9D2C-23E0D38F4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706F8D-30CC-4167-8A9D-67F5BE5CC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A495D6-4DC2-4041-B2F1-8C307A861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2AF55-EFF2-4058-A6C0-CDE7EA01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92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20.v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20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oleObject" Target="../embeddings/oleObject28.bin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5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tags" Target="../tags/tag5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vmlDrawing" Target="../drawings/vmlDrawing2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521D9E-060B-4249-AC98-8AA2DD86E2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77545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521D9E-060B-4249-AC98-8AA2DD86E2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B67E73-8D1C-42DD-ACA5-E8CBB7A56EB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CCA3EB-EFE4-4DDA-91C0-0894B58EC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3CA35D-1925-4FCD-8B44-66C707705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B9CFC5-B55D-446F-817F-28F3C1DA3C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437510-742F-43E4-936A-63C6E44E81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5F8FB-ED0F-4961-9718-5111083C80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20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4709560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13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0437695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4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8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4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8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642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 ftr="0" dt="0"/>
  <p:txStyles>
    <p:titleStyle>
      <a:lvl1pPr algn="l" defTabSz="609570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89" indent="-239989" algn="l" defTabSz="6095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76" indent="-239989" algn="l" defTabSz="6095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65" indent="-239989" algn="l" defTabSz="6095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52" indent="-239989" algn="l" defTabSz="6095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260" indent="-380981" algn="ctr" defTabSz="6095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0750435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23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12" Type="http://schemas.openxmlformats.org/officeDocument/2006/relationships/image" Target="../media/image18.png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74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ROADMAP DEVELOP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Introduction</a:t>
            </a:r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374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899FD9-7960-417F-AA6C-81781EE03FD9}"/>
              </a:ext>
            </a:extLst>
          </p:cNvPr>
          <p:cNvSpPr/>
          <p:nvPr/>
        </p:nvSpPr>
        <p:spPr>
          <a:xfrm>
            <a:off x="7064974" y="1341120"/>
            <a:ext cx="4584482" cy="27936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5A9505-0897-4C3C-B655-8FB219BBD360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A2D6C6-95A7-4FB5-B6D9-93D1A9DA2A62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82D348E-8A0F-4AC4-8700-C3261DF6E8BB}"/>
              </a:ext>
            </a:extLst>
          </p:cNvPr>
          <p:cNvSpPr/>
          <p:nvPr/>
        </p:nvSpPr>
        <p:spPr>
          <a:xfrm>
            <a:off x="6602049" y="1341121"/>
            <a:ext cx="353483" cy="2793600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51FFCC-A8A3-4044-B95E-ABDC0549F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9732" y="2897528"/>
            <a:ext cx="5408507" cy="3325473"/>
          </a:xfrm>
        </p:spPr>
        <p:txBody>
          <a:bodyPr lIns="72000" tIns="72000" rIns="72000" bIns="72000"/>
          <a:lstStyle/>
          <a:p>
            <a:pPr marL="228600" indent="-228600">
              <a:buAutoNum type="arabicPeriod"/>
            </a:pPr>
            <a:r>
              <a:rPr lang="en-GB" sz="1200" dirty="0">
                <a:latin typeface="Georgia" panose="02040502050405020303" pitchFamily="18" charset="0"/>
              </a:rPr>
              <a:t>Summarise ke</a:t>
            </a:r>
            <a:r>
              <a:rPr lang="en-GB" sz="1200" dirty="0"/>
              <a:t>y activities required in terms of technologies, capabilities, culture, ecosystem and finance based on your earlier assessments to the ‘List of activities’ sheet. 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r>
              <a:rPr lang="en-GB" sz="1200" dirty="0"/>
              <a:t>Write key functions contributing to the implementation of your circular idea to the ‘Responsibilities and timing’ sheet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r>
              <a:rPr lang="en-GB" sz="1200" dirty="0"/>
              <a:t>Define a timeline for your transformation journey</a:t>
            </a:r>
          </a:p>
          <a:p>
            <a:pPr marL="228600" indent="-228600">
              <a:buFont typeface="+mj-lt"/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r>
              <a:rPr lang="en-GB" sz="1200" dirty="0"/>
              <a:t>Define responsible functions (and if possible, name people to approach) and appropriate phase for each activity</a:t>
            </a:r>
          </a:p>
          <a:p>
            <a:pPr marL="228600" indent="-228600">
              <a:buAutoNum type="arabicPeriod"/>
            </a:pPr>
            <a:endParaRPr lang="en-GB" sz="1200" dirty="0"/>
          </a:p>
          <a:p>
            <a:pPr marL="228600" indent="-228600">
              <a:buAutoNum type="arabicPeriod"/>
            </a:pPr>
            <a:endParaRPr lang="en-GB" sz="1200" dirty="0"/>
          </a:p>
          <a:p>
            <a:pPr marL="0" indent="0">
              <a:buNone/>
            </a:pPr>
            <a:endParaRPr lang="en-GB" sz="1200" dirty="0"/>
          </a:p>
          <a:p>
            <a:pPr marL="0" indent="0">
              <a:buNone/>
            </a:pPr>
            <a:r>
              <a:rPr lang="en-GB" sz="1200" b="1" dirty="0"/>
              <a:t>Tip: </a:t>
            </a:r>
            <a:r>
              <a:rPr lang="en-GB" sz="1200" dirty="0"/>
              <a:t>Use sticky notes to list the activities – it saves time and allows flexibility!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Roadmap develo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859FDA-352C-4F50-B0B4-4FBBFE43F522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0D7EFB9A-CA2B-4BF7-BC4A-9BDC1F101359}"/>
              </a:ext>
            </a:extLst>
          </p:cNvPr>
          <p:cNvSpPr txBox="1">
            <a:spLocks/>
          </p:cNvSpPr>
          <p:nvPr/>
        </p:nvSpPr>
        <p:spPr>
          <a:xfrm>
            <a:off x="829733" y="1341120"/>
            <a:ext cx="5182130" cy="143594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The purpose of the roadmap development tool is to support you in planning the first steps on your circular transformation journey on a high-level, through listing key activities, estimating the time to complete them and prioritising them into short, medium and long-term.</a:t>
            </a: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239178" marR="0" lvl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7B8C38-F114-4EF4-B076-9F6D28BCD3AE}"/>
              </a:ext>
            </a:extLst>
          </p:cNvPr>
          <p:cNvGrpSpPr/>
          <p:nvPr/>
        </p:nvGrpSpPr>
        <p:grpSpPr>
          <a:xfrm>
            <a:off x="7574603" y="1584581"/>
            <a:ext cx="3565225" cy="2391366"/>
            <a:chOff x="6640833" y="1341120"/>
            <a:chExt cx="5119367" cy="3569007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69E5FDB-0421-4A6D-BFCD-C4E0F41E04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640833" y="1341120"/>
              <a:ext cx="3840000" cy="21600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FF153E4-F7B1-4CAC-A1AC-567625095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280517" y="2045623"/>
              <a:ext cx="3840000" cy="21600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0F46EF2-5B8F-46D7-8866-1B0063255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920200" y="2750127"/>
              <a:ext cx="3840000" cy="21600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E18CC698-779C-4A3E-A2A4-C22A570AD682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E00B3C-DBB5-4DAE-B1C6-0F33745C90A3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589261-93E3-4EAF-B8B7-95C6ACA734D5}"/>
              </a:ext>
            </a:extLst>
          </p:cNvPr>
          <p:cNvSpPr txBox="1"/>
          <p:nvPr/>
        </p:nvSpPr>
        <p:spPr>
          <a:xfrm>
            <a:off x="7170569" y="4331839"/>
            <a:ext cx="2996203" cy="199521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hapter 5: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How to design the transformation journey?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87F411F-79CD-42BF-BE04-705668688763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fi-FI" sz="800" b="0" i="1" dirty="0" err="1">
                <a:latin typeface="Georgia" panose="02040502050405020303" pitchFamily="18" charset="0"/>
              </a:rPr>
              <a:t>Illustrative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laybook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ages</a:t>
            </a:r>
            <a:r>
              <a:rPr lang="fi-FI" sz="800" b="0" i="1" dirty="0">
                <a:latin typeface="Georgia" panose="02040502050405020303" pitchFamily="18" charset="0"/>
              </a:rPr>
              <a:t> – </a:t>
            </a:r>
            <a:r>
              <a:rPr lang="fi-FI" sz="800" i="1" dirty="0" err="1">
                <a:latin typeface="Georgia" panose="02040502050405020303" pitchFamily="18" charset="0"/>
              </a:rPr>
              <a:t>pleas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refer</a:t>
            </a:r>
            <a:r>
              <a:rPr lang="fi-FI" sz="800" i="1" dirty="0">
                <a:latin typeface="Georgia" panose="02040502050405020303" pitchFamily="18" charset="0"/>
              </a:rPr>
              <a:t> to </a:t>
            </a:r>
            <a:r>
              <a:rPr lang="fi-FI" sz="800" i="1" dirty="0" err="1">
                <a:latin typeface="Georgia" panose="02040502050405020303" pitchFamily="18" charset="0"/>
              </a:rPr>
              <a:t>th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entir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chapter</a:t>
            </a:r>
            <a:r>
              <a:rPr lang="fi-FI" sz="800" i="1" dirty="0">
                <a:latin typeface="Georgia" panose="02040502050405020303" pitchFamily="18" charset="0"/>
              </a:rPr>
              <a:t> for </a:t>
            </a:r>
            <a:r>
              <a:rPr lang="fi-FI" sz="800" i="1" dirty="0" err="1">
                <a:latin typeface="Georgia" panose="02040502050405020303" pitchFamily="18" charset="0"/>
              </a:rPr>
              <a:t>support</a:t>
            </a:r>
            <a:r>
              <a:rPr lang="fi-FI" sz="800" i="1" dirty="0">
                <a:latin typeface="Georgia" panose="02040502050405020303" pitchFamily="18" charset="0"/>
              </a:rPr>
              <a:t>.</a:t>
            </a:r>
            <a:endParaRPr lang="fi-FI" sz="800" b="0" i="1" dirty="0">
              <a:latin typeface="Georgia" panose="02040502050405020303" pitchFamily="18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A376144-11B8-4B23-A7E6-003F9EC96E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65828" y="4803036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65815A2-2A79-40FB-815B-A026332EE5E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06682" y="4951835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659C3B4D-AA00-48B2-8854-D252FE8FFDE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16886" y="4807030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4D85D9BB-3DFC-4B8E-9CED-97EBF2DF16CA}"/>
              </a:ext>
            </a:extLst>
          </p:cNvPr>
          <p:cNvSpPr txBox="1"/>
          <p:nvPr/>
        </p:nvSpPr>
        <p:spPr>
          <a:xfrm>
            <a:off x="7165828" y="5610130"/>
            <a:ext cx="1720854" cy="989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fi-FI" sz="900" b="0" i="0" dirty="0">
                <a:latin typeface="Georgia" panose="02040502050405020303" pitchFamily="18" charset="0"/>
              </a:rPr>
              <a:t>Three </a:t>
            </a:r>
            <a:r>
              <a:rPr lang="fi-FI" sz="900" b="0" i="0" dirty="0" err="1">
                <a:latin typeface="Georgia" panose="02040502050405020303" pitchFamily="18" charset="0"/>
              </a:rPr>
              <a:t>phases</a:t>
            </a:r>
            <a:r>
              <a:rPr lang="fi-FI" sz="900" b="0" i="0" dirty="0">
                <a:latin typeface="Georgia" panose="02040502050405020303" pitchFamily="18" charset="0"/>
              </a:rPr>
              <a:t> of </a:t>
            </a:r>
            <a:r>
              <a:rPr lang="fi-FI" sz="900" b="0" i="0" dirty="0" err="1">
                <a:latin typeface="Georgia" panose="02040502050405020303" pitchFamily="18" charset="0"/>
              </a:rPr>
              <a:t>th</a:t>
            </a:r>
            <a:r>
              <a:rPr lang="fi-FI" sz="900" dirty="0" err="1">
                <a:latin typeface="Georgia" panose="02040502050405020303" pitchFamily="18" charset="0"/>
              </a:rPr>
              <a:t>e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transformation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journey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5D600CD-35E0-4036-8D1C-7DCC2033B6C9}"/>
              </a:ext>
            </a:extLst>
          </p:cNvPr>
          <p:cNvSpPr txBox="1"/>
          <p:nvPr/>
        </p:nvSpPr>
        <p:spPr>
          <a:xfrm>
            <a:off x="9316886" y="5735074"/>
            <a:ext cx="2120985" cy="116525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fi-FI" sz="900" b="0" i="0" dirty="0">
                <a:latin typeface="Georgia" panose="02040502050405020303" pitchFamily="18" charset="0"/>
              </a:rPr>
              <a:t>Key </a:t>
            </a:r>
            <a:r>
              <a:rPr lang="fi-FI" sz="900" b="0" i="0" dirty="0" err="1">
                <a:latin typeface="Georgia" panose="02040502050405020303" pitchFamily="18" charset="0"/>
              </a:rPr>
              <a:t>barriers</a:t>
            </a:r>
            <a:r>
              <a:rPr lang="fi-FI" sz="900" dirty="0">
                <a:latin typeface="Georgia" panose="02040502050405020303" pitchFamily="18" charset="0"/>
              </a:rPr>
              <a:t> and </a:t>
            </a:r>
            <a:r>
              <a:rPr lang="fi-FI" sz="900" dirty="0" err="1">
                <a:latin typeface="Georgia" panose="02040502050405020303" pitchFamily="18" charset="0"/>
              </a:rPr>
              <a:t>ways</a:t>
            </a:r>
            <a:r>
              <a:rPr lang="fi-FI" sz="900" dirty="0">
                <a:latin typeface="Georgia" panose="02040502050405020303" pitchFamily="18" charset="0"/>
              </a:rPr>
              <a:t> to </a:t>
            </a:r>
            <a:r>
              <a:rPr lang="fi-FI" sz="900" dirty="0" err="1">
                <a:latin typeface="Georgia" panose="02040502050405020303" pitchFamily="18" charset="0"/>
              </a:rPr>
              <a:t>overcome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them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9E0B44F3-AD3C-45B5-AAC1-31C51275A19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837379" y="4952419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8CBB909-903D-4F8A-9CD8-37ECEC43A09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57871" y="5097809"/>
            <a:ext cx="1080000" cy="6084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2958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6137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DC5EE05-A79A-4508-8E32-11DD153AB332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Roadmap develop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XAMP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CCD2879-0C17-4FE3-838D-FC59B09F0177}"/>
              </a:ext>
            </a:extLst>
          </p:cNvPr>
          <p:cNvGrpSpPr/>
          <p:nvPr/>
        </p:nvGrpSpPr>
        <p:grpSpPr>
          <a:xfrm>
            <a:off x="870600" y="1412143"/>
            <a:ext cx="8397687" cy="4802229"/>
            <a:chOff x="98440" y="18535"/>
            <a:chExt cx="8797689" cy="501772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61EF61F-DD0C-41F9-ADA4-D9B11258835B}"/>
                </a:ext>
              </a:extLst>
            </p:cNvPr>
            <p:cNvSpPr/>
            <p:nvPr/>
          </p:nvSpPr>
          <p:spPr>
            <a:xfrm>
              <a:off x="586343" y="1858054"/>
              <a:ext cx="8309786" cy="3095751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2" name="Straight Arrow Connector 73">
              <a:extLst>
                <a:ext uri="{FF2B5EF4-FFF2-40B4-BE49-F238E27FC236}">
                  <a16:creationId xmlns:a16="http://schemas.microsoft.com/office/drawing/2014/main" id="{8E8C056C-2670-4729-8751-4E49484B11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6571" y="939955"/>
              <a:ext cx="8153257" cy="19580"/>
            </a:xfrm>
            <a:prstGeom prst="straightConnector1">
              <a:avLst/>
            </a:prstGeom>
            <a:ln w="6350"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: Top Corners Rounded 40">
              <a:extLst>
                <a:ext uri="{FF2B5EF4-FFF2-40B4-BE49-F238E27FC236}">
                  <a16:creationId xmlns:a16="http://schemas.microsoft.com/office/drawing/2014/main" id="{1152740D-7AB2-4DBA-BFAD-A6CBC41CFCB2}"/>
                </a:ext>
              </a:extLst>
            </p:cNvPr>
            <p:cNvSpPr/>
            <p:nvPr/>
          </p:nvSpPr>
          <p:spPr>
            <a:xfrm>
              <a:off x="3179210" y="295421"/>
              <a:ext cx="2906022" cy="442512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II. Attract &amp; Win</a:t>
              </a:r>
            </a:p>
          </p:txBody>
        </p:sp>
        <p:sp>
          <p:nvSpPr>
            <p:cNvPr id="15" name="Rectangle: Top Corners Rounded 41">
              <a:extLst>
                <a:ext uri="{FF2B5EF4-FFF2-40B4-BE49-F238E27FC236}">
                  <a16:creationId xmlns:a16="http://schemas.microsoft.com/office/drawing/2014/main" id="{3FE510F4-5857-492B-B3F6-E2231153C9F7}"/>
                </a:ext>
              </a:extLst>
            </p:cNvPr>
            <p:cNvSpPr/>
            <p:nvPr/>
          </p:nvSpPr>
          <p:spPr>
            <a:xfrm>
              <a:off x="6118221" y="295421"/>
              <a:ext cx="2701930" cy="442512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III. Scale fast &amp; keep growing</a:t>
              </a:r>
            </a:p>
          </p:txBody>
        </p:sp>
        <p:sp>
          <p:nvSpPr>
            <p:cNvPr id="16" name="Rectangle 30">
              <a:extLst>
                <a:ext uri="{FF2B5EF4-FFF2-40B4-BE49-F238E27FC236}">
                  <a16:creationId xmlns:a16="http://schemas.microsoft.com/office/drawing/2014/main" id="{E3147876-6997-4DF7-BEE3-59FAC0F82223}"/>
                </a:ext>
              </a:extLst>
            </p:cNvPr>
            <p:cNvSpPr/>
            <p:nvPr/>
          </p:nvSpPr>
          <p:spPr>
            <a:xfrm>
              <a:off x="642065" y="1090735"/>
              <a:ext cx="8157762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 w="0"/>
                <a:solidFill>
                  <a:srgbClr val="367A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17" name="Rectangle 32">
              <a:extLst>
                <a:ext uri="{FF2B5EF4-FFF2-40B4-BE49-F238E27FC236}">
                  <a16:creationId xmlns:a16="http://schemas.microsoft.com/office/drawing/2014/main" id="{17525EB3-A7B5-4335-A091-82BA3943A70C}"/>
                </a:ext>
              </a:extLst>
            </p:cNvPr>
            <p:cNvSpPr/>
            <p:nvPr/>
          </p:nvSpPr>
          <p:spPr>
            <a:xfrm>
              <a:off x="642065" y="1864603"/>
              <a:ext cx="8157762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 w="0"/>
                <a:solidFill>
                  <a:srgbClr val="367A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18" name="Rectangle 33">
              <a:extLst>
                <a:ext uri="{FF2B5EF4-FFF2-40B4-BE49-F238E27FC236}">
                  <a16:creationId xmlns:a16="http://schemas.microsoft.com/office/drawing/2014/main" id="{98EF4E75-8827-41A3-B142-1FDC4DECD5B0}"/>
                </a:ext>
              </a:extLst>
            </p:cNvPr>
            <p:cNvSpPr/>
            <p:nvPr/>
          </p:nvSpPr>
          <p:spPr>
            <a:xfrm>
              <a:off x="642065" y="2638471"/>
              <a:ext cx="8157762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 w="0"/>
                <a:solidFill>
                  <a:srgbClr val="367A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cxnSp>
          <p:nvCxnSpPr>
            <p:cNvPr id="19" name="Straight Connector 7">
              <a:extLst>
                <a:ext uri="{FF2B5EF4-FFF2-40B4-BE49-F238E27FC236}">
                  <a16:creationId xmlns:a16="http://schemas.microsoft.com/office/drawing/2014/main" id="{E05C3070-6D5A-42ED-93E3-BB935247CAB2}"/>
                </a:ext>
              </a:extLst>
            </p:cNvPr>
            <p:cNvCxnSpPr>
              <a:cxnSpLocks/>
            </p:cNvCxnSpPr>
            <p:nvPr/>
          </p:nvCxnSpPr>
          <p:spPr>
            <a:xfrm>
              <a:off x="3162400" y="1068864"/>
              <a:ext cx="0" cy="3852000"/>
            </a:xfrm>
            <a:prstGeom prst="line">
              <a:avLst/>
            </a:prstGeom>
            <a:ln w="3175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8">
              <a:extLst>
                <a:ext uri="{FF2B5EF4-FFF2-40B4-BE49-F238E27FC236}">
                  <a16:creationId xmlns:a16="http://schemas.microsoft.com/office/drawing/2014/main" id="{7E68907A-9618-4358-8F67-37435429C12A}"/>
                </a:ext>
              </a:extLst>
            </p:cNvPr>
            <p:cNvCxnSpPr>
              <a:cxnSpLocks/>
            </p:cNvCxnSpPr>
            <p:nvPr/>
          </p:nvCxnSpPr>
          <p:spPr>
            <a:xfrm>
              <a:off x="6105223" y="1068864"/>
              <a:ext cx="0" cy="3852000"/>
            </a:xfrm>
            <a:prstGeom prst="line">
              <a:avLst/>
            </a:prstGeom>
            <a:ln w="3175">
              <a:solidFill>
                <a:schemeClr val="tx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3">
              <a:extLst>
                <a:ext uri="{FF2B5EF4-FFF2-40B4-BE49-F238E27FC236}">
                  <a16:creationId xmlns:a16="http://schemas.microsoft.com/office/drawing/2014/main" id="{3C166ED8-BB04-49E6-8B96-17BED1963C0E}"/>
                </a:ext>
              </a:extLst>
            </p:cNvPr>
            <p:cNvSpPr txBox="1"/>
            <p:nvPr/>
          </p:nvSpPr>
          <p:spPr>
            <a:xfrm>
              <a:off x="3186205" y="460935"/>
              <a:ext cx="2906022" cy="25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Develop processes and partnerships and pilot new solution to convey benefits </a:t>
              </a:r>
            </a:p>
          </p:txBody>
        </p:sp>
        <p:sp>
          <p:nvSpPr>
            <p:cNvPr id="22" name="TextBox 24">
              <a:extLst>
                <a:ext uri="{FF2B5EF4-FFF2-40B4-BE49-F238E27FC236}">
                  <a16:creationId xmlns:a16="http://schemas.microsoft.com/office/drawing/2014/main" id="{CCD1A8FB-9519-4F03-8F34-24B0B2B8A0B0}"/>
                </a:ext>
              </a:extLst>
            </p:cNvPr>
            <p:cNvSpPr txBox="1"/>
            <p:nvPr/>
          </p:nvSpPr>
          <p:spPr>
            <a:xfrm>
              <a:off x="6118221" y="460935"/>
              <a:ext cx="2701930" cy="25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Adopt multiple circular business models across own operations and value chain</a:t>
              </a:r>
            </a:p>
          </p:txBody>
        </p:sp>
        <p:sp>
          <p:nvSpPr>
            <p:cNvPr id="23" name="Rectangle 33">
              <a:extLst>
                <a:ext uri="{FF2B5EF4-FFF2-40B4-BE49-F238E27FC236}">
                  <a16:creationId xmlns:a16="http://schemas.microsoft.com/office/drawing/2014/main" id="{B063D0DB-CD15-4331-B23F-91681BF52E01}"/>
                </a:ext>
              </a:extLst>
            </p:cNvPr>
            <p:cNvSpPr/>
            <p:nvPr/>
          </p:nvSpPr>
          <p:spPr>
            <a:xfrm>
              <a:off x="642065" y="3412339"/>
              <a:ext cx="8157762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 w="0"/>
                <a:solidFill>
                  <a:srgbClr val="367A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24" name="Rectangle 33">
              <a:extLst>
                <a:ext uri="{FF2B5EF4-FFF2-40B4-BE49-F238E27FC236}">
                  <a16:creationId xmlns:a16="http://schemas.microsoft.com/office/drawing/2014/main" id="{ED3EE391-D8FF-4643-9C8A-85C06AB1DECE}"/>
                </a:ext>
              </a:extLst>
            </p:cNvPr>
            <p:cNvSpPr/>
            <p:nvPr/>
          </p:nvSpPr>
          <p:spPr>
            <a:xfrm>
              <a:off x="642065" y="4186206"/>
              <a:ext cx="8157762" cy="72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 w="0"/>
                <a:solidFill>
                  <a:srgbClr val="367A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Georgia" panose="02040502050405020303" pitchFamily="18" charset="0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10530B5-8AA7-4DA7-8951-2391CC7AD10E}"/>
                </a:ext>
              </a:extLst>
            </p:cNvPr>
            <p:cNvSpPr txBox="1"/>
            <p:nvPr/>
          </p:nvSpPr>
          <p:spPr>
            <a:xfrm>
              <a:off x="2510344" y="4895341"/>
              <a:ext cx="1351721" cy="14092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marR="0" lvl="0" indent="0" algn="l" defTabSz="914378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320531A-711B-40FD-87F7-C0666F1758CC}"/>
                </a:ext>
              </a:extLst>
            </p:cNvPr>
            <p:cNvSpPr/>
            <p:nvPr/>
          </p:nvSpPr>
          <p:spPr>
            <a:xfrm>
              <a:off x="2790786" y="896112"/>
              <a:ext cx="768343" cy="139811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__________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0451165-3357-4C6F-83B3-39D6EE1284A2}"/>
                </a:ext>
              </a:extLst>
            </p:cNvPr>
            <p:cNvSpPr/>
            <p:nvPr/>
          </p:nvSpPr>
          <p:spPr>
            <a:xfrm>
              <a:off x="5721520" y="896112"/>
              <a:ext cx="766800" cy="139811"/>
            </a:xfrm>
            <a:prstGeom prst="rect">
              <a:avLst/>
            </a:prstGeom>
            <a:solidFill>
              <a:schemeClr val="bg1"/>
            </a:solidFill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__________</a:t>
              </a:r>
            </a:p>
          </p:txBody>
        </p:sp>
        <p:sp>
          <p:nvSpPr>
            <p:cNvPr id="28" name="Rectangle 71">
              <a:extLst>
                <a:ext uri="{FF2B5EF4-FFF2-40B4-BE49-F238E27FC236}">
                  <a16:creationId xmlns:a16="http://schemas.microsoft.com/office/drawing/2014/main" id="{6A6AA54A-958E-4F03-BFF2-A219D938FB62}"/>
                </a:ext>
              </a:extLst>
            </p:cNvPr>
            <p:cNvSpPr/>
            <p:nvPr/>
          </p:nvSpPr>
          <p:spPr>
            <a:xfrm>
              <a:off x="8334441" y="771808"/>
              <a:ext cx="359978" cy="1286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36000" tIns="0" rIns="36000" bIns="0">
              <a:spAutoFit/>
            </a:bodyPr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Tim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E6ADB23-5F08-456B-8974-88254C9583F9}"/>
                </a:ext>
              </a:extLst>
            </p:cNvPr>
            <p:cNvSpPr txBox="1"/>
            <p:nvPr/>
          </p:nvSpPr>
          <p:spPr>
            <a:xfrm>
              <a:off x="164603" y="1864603"/>
              <a:ext cx="391072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vert270" wrap="square" lIns="0" tIns="0" rIns="0" bIns="0" rtlCol="0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unction 2: </a:t>
              </a:r>
            </a:p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Sourcing &amp; Procurement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34FE5F1-DC67-4FBE-9C1F-B66F8E382EC4}"/>
                </a:ext>
              </a:extLst>
            </p:cNvPr>
            <p:cNvSpPr txBox="1"/>
            <p:nvPr/>
          </p:nvSpPr>
          <p:spPr>
            <a:xfrm>
              <a:off x="164603" y="2638471"/>
              <a:ext cx="391072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vert270" wrap="square" lIns="0" tIns="0" rIns="0" bIns="0" rtlCol="0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unction 3: </a:t>
              </a:r>
            </a:p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Manufacturing</a:t>
              </a:r>
            </a:p>
          </p:txBody>
        </p:sp>
        <p:sp>
          <p:nvSpPr>
            <p:cNvPr id="31" name="TextBox 6">
              <a:extLst>
                <a:ext uri="{FF2B5EF4-FFF2-40B4-BE49-F238E27FC236}">
                  <a16:creationId xmlns:a16="http://schemas.microsoft.com/office/drawing/2014/main" id="{1CE87A0E-0633-474A-A372-3D3B5CF58702}"/>
                </a:ext>
              </a:extLst>
            </p:cNvPr>
            <p:cNvSpPr txBox="1"/>
            <p:nvPr/>
          </p:nvSpPr>
          <p:spPr>
            <a:xfrm>
              <a:off x="164603" y="3412339"/>
              <a:ext cx="391072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vert270" wrap="square" lIns="0" tIns="0" rIns="0" bIns="0" rtlCol="0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unction 4: </a:t>
              </a:r>
            </a:p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Marketing &amp; Sales</a:t>
              </a:r>
            </a:p>
          </p:txBody>
        </p:sp>
        <p:sp>
          <p:nvSpPr>
            <p:cNvPr id="32" name="TextBox 6">
              <a:extLst>
                <a:ext uri="{FF2B5EF4-FFF2-40B4-BE49-F238E27FC236}">
                  <a16:creationId xmlns:a16="http://schemas.microsoft.com/office/drawing/2014/main" id="{F9D7DC5A-324D-4291-9D3F-0E6150A1DF57}"/>
                </a:ext>
              </a:extLst>
            </p:cNvPr>
            <p:cNvSpPr txBox="1"/>
            <p:nvPr/>
          </p:nvSpPr>
          <p:spPr>
            <a:xfrm>
              <a:off x="164603" y="4186206"/>
              <a:ext cx="391072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vert270" wrap="square" lIns="0" tIns="0" rIns="0" bIns="0" rtlCol="0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unction 5: </a:t>
              </a:r>
            </a:p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Leadership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10A1BD6-9115-45F5-97DF-DDB7295916EB}"/>
                </a:ext>
              </a:extLst>
            </p:cNvPr>
            <p:cNvSpPr txBox="1"/>
            <p:nvPr/>
          </p:nvSpPr>
          <p:spPr>
            <a:xfrm>
              <a:off x="164603" y="1090735"/>
              <a:ext cx="391072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vert270" wrap="square" lIns="0" tIns="0" rIns="0" bIns="0" rtlCol="0">
              <a:no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Function 1: </a:t>
              </a:r>
            </a:p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0839" algn="l"/>
                </a:tabLst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Design + R&amp;D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67B6897-23EC-49D4-AA4A-0F27BF4C3C69}"/>
                </a:ext>
              </a:extLst>
            </p:cNvPr>
            <p:cNvSpPr txBox="1"/>
            <p:nvPr/>
          </p:nvSpPr>
          <p:spPr>
            <a:xfrm>
              <a:off x="323851" y="18535"/>
              <a:ext cx="7685616" cy="38775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noAutofit/>
            </a:bodyPr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+mn-cs"/>
                </a:rPr>
                <a:t>Roadmap development – Responsibilities and timing</a:t>
              </a:r>
            </a:p>
          </p:txBody>
        </p:sp>
        <p:sp>
          <p:nvSpPr>
            <p:cNvPr id="35" name="TextBox 6">
              <a:extLst>
                <a:ext uri="{FF2B5EF4-FFF2-40B4-BE49-F238E27FC236}">
                  <a16:creationId xmlns:a16="http://schemas.microsoft.com/office/drawing/2014/main" id="{89961E37-3FCB-4ABE-A4F3-007529D82652}"/>
                </a:ext>
              </a:extLst>
            </p:cNvPr>
            <p:cNvSpPr txBox="1"/>
            <p:nvPr/>
          </p:nvSpPr>
          <p:spPr>
            <a:xfrm rot="5400000">
              <a:off x="468560" y="354142"/>
              <a:ext cx="385906" cy="1126145"/>
            </a:xfrm>
            <a:prstGeom prst="rect">
              <a:avLst/>
            </a:prstGeom>
            <a:solidFill>
              <a:schemeClr val="bg1"/>
            </a:solidFill>
          </p:spPr>
          <p:txBody>
            <a:bodyPr vert="vert270" wrap="square" lIns="0" tIns="0" rIns="0" bIns="0" rtlCol="0">
              <a:sp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Define your time line– depending on the pace you chose</a:t>
              </a:r>
            </a:p>
          </p:txBody>
        </p:sp>
        <p:sp>
          <p:nvSpPr>
            <p:cNvPr id="36" name="Rectangle: Top Corners Rounded 39">
              <a:extLst>
                <a:ext uri="{FF2B5EF4-FFF2-40B4-BE49-F238E27FC236}">
                  <a16:creationId xmlns:a16="http://schemas.microsoft.com/office/drawing/2014/main" id="{8332C086-F0FE-4EC7-B5D9-854DF4249A9B}"/>
                </a:ext>
              </a:extLst>
            </p:cNvPr>
            <p:cNvSpPr/>
            <p:nvPr/>
          </p:nvSpPr>
          <p:spPr>
            <a:xfrm>
              <a:off x="666894" y="295421"/>
              <a:ext cx="2465245" cy="442512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I. Explore &amp; Shape</a:t>
              </a:r>
            </a:p>
          </p:txBody>
        </p:sp>
        <p:sp>
          <p:nvSpPr>
            <p:cNvPr id="37" name="TextBox 22">
              <a:extLst>
                <a:ext uri="{FF2B5EF4-FFF2-40B4-BE49-F238E27FC236}">
                  <a16:creationId xmlns:a16="http://schemas.microsoft.com/office/drawing/2014/main" id="{3C65ED7E-AD56-4D0F-802A-BA067CF2730C}"/>
                </a:ext>
              </a:extLst>
            </p:cNvPr>
            <p:cNvSpPr txBox="1"/>
            <p:nvPr/>
          </p:nvSpPr>
          <p:spPr>
            <a:xfrm>
              <a:off x="661514" y="460935"/>
              <a:ext cx="2479329" cy="2572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Develop concepts for target business models, look for partners, design and test prototype(s) </a:t>
              </a:r>
            </a:p>
          </p:txBody>
        </p:sp>
        <p:sp>
          <p:nvSpPr>
            <p:cNvPr id="38" name="Rectangle 71">
              <a:extLst>
                <a:ext uri="{FF2B5EF4-FFF2-40B4-BE49-F238E27FC236}">
                  <a16:creationId xmlns:a16="http://schemas.microsoft.com/office/drawing/2014/main" id="{04056890-E61D-4691-822D-E4A904984482}"/>
                </a:ext>
              </a:extLst>
            </p:cNvPr>
            <p:cNvSpPr/>
            <p:nvPr/>
          </p:nvSpPr>
          <p:spPr>
            <a:xfrm>
              <a:off x="2877783" y="855635"/>
              <a:ext cx="595089" cy="1286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36000" tIns="0" rIns="36000" bIns="0">
              <a:spAutoFit/>
            </a:bodyPr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6 months</a:t>
              </a:r>
            </a:p>
          </p:txBody>
        </p:sp>
        <p:sp>
          <p:nvSpPr>
            <p:cNvPr id="39" name="Rectangle 71">
              <a:extLst>
                <a:ext uri="{FF2B5EF4-FFF2-40B4-BE49-F238E27FC236}">
                  <a16:creationId xmlns:a16="http://schemas.microsoft.com/office/drawing/2014/main" id="{04B33AA9-12DF-47C9-B5AC-ABA961BA529C}"/>
                </a:ext>
              </a:extLst>
            </p:cNvPr>
            <p:cNvSpPr/>
            <p:nvPr/>
          </p:nvSpPr>
          <p:spPr>
            <a:xfrm>
              <a:off x="5833604" y="868687"/>
              <a:ext cx="645469" cy="1286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36000" tIns="0" rIns="36000" bIns="0">
              <a:spAutoFit/>
            </a:bodyPr>
            <a:lstStyle/>
            <a:p>
              <a:pPr marL="0" marR="0" lvl="0" indent="0" algn="l" defTabSz="91437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12 month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A0228E9D-6BFD-49F5-A06A-6008B7619BED}"/>
                </a:ext>
              </a:extLst>
            </p:cNvPr>
            <p:cNvSpPr/>
            <p:nvPr/>
          </p:nvSpPr>
          <p:spPr>
            <a:xfrm>
              <a:off x="1786912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creen and assess new material supplier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64D1C5F4-9078-42E0-A82B-D35169C7BE5A}"/>
                </a:ext>
              </a:extLst>
            </p:cNvPr>
            <p:cNvSpPr/>
            <p:nvPr/>
          </p:nvSpPr>
          <p:spPr>
            <a:xfrm>
              <a:off x="2097823" y="121959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sign and test prototype with customers in workshop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6080A83-DB9A-49BB-9E5C-DE1269EF51D7}"/>
                </a:ext>
              </a:extLst>
            </p:cNvPr>
            <p:cNvSpPr/>
            <p:nvPr/>
          </p:nvSpPr>
          <p:spPr>
            <a:xfrm>
              <a:off x="707502" y="121959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circular design criteria and guide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14B543D-96EE-4347-B531-3243FFC01E86}"/>
                </a:ext>
              </a:extLst>
            </p:cNvPr>
            <p:cNvSpPr/>
            <p:nvPr/>
          </p:nvSpPr>
          <p:spPr>
            <a:xfrm>
              <a:off x="1305869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elect pilot product(s)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3433FDB-452E-441F-ACC8-81D8BDB9A694}"/>
                </a:ext>
              </a:extLst>
            </p:cNvPr>
            <p:cNvSpPr/>
            <p:nvPr/>
          </p:nvSpPr>
          <p:spPr>
            <a:xfrm>
              <a:off x="1891818" y="276372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Assess required changes in production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1B8F6C9-00F9-4C11-B704-B51F74900ABF}"/>
                </a:ext>
              </a:extLst>
            </p:cNvPr>
            <p:cNvSpPr/>
            <p:nvPr/>
          </p:nvSpPr>
          <p:spPr>
            <a:xfrm>
              <a:off x="1145059" y="3541198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pricing models for new modular offering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6749142C-1D02-43E9-9567-822391F093CA}"/>
                </a:ext>
              </a:extLst>
            </p:cNvPr>
            <p:cNvSpPr/>
            <p:nvPr/>
          </p:nvSpPr>
          <p:spPr>
            <a:xfrm>
              <a:off x="3317339" y="3541198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mote pilot offering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FFB4A5BA-332C-4905-B93F-104DEC2F7AA5}"/>
                </a:ext>
              </a:extLst>
            </p:cNvPr>
            <p:cNvSpPr/>
            <p:nvPr/>
          </p:nvSpPr>
          <p:spPr>
            <a:xfrm>
              <a:off x="3317339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Approve launch of pilot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B6AE0C5-6582-49F8-85D8-913880CDB9A2}"/>
                </a:ext>
              </a:extLst>
            </p:cNvPr>
            <p:cNvSpPr/>
            <p:nvPr/>
          </p:nvSpPr>
          <p:spPr>
            <a:xfrm>
              <a:off x="1947376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ecure funding: contact bank to get credit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5232BA0-1A20-4D99-885A-29F3A61E00F9}"/>
                </a:ext>
              </a:extLst>
            </p:cNvPr>
            <p:cNvSpPr/>
            <p:nvPr/>
          </p:nvSpPr>
          <p:spPr>
            <a:xfrm>
              <a:off x="3443034" y="276372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Implement required changes in production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5C980863-2844-4E59-BCDA-78F6647998BA}"/>
                </a:ext>
              </a:extLst>
            </p:cNvPr>
            <p:cNvSpPr/>
            <p:nvPr/>
          </p:nvSpPr>
          <p:spPr>
            <a:xfrm>
              <a:off x="3287750" y="121959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final product concept based on customer input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4D2A9560-C65C-4154-BA4D-13E7D67093DB}"/>
                </a:ext>
              </a:extLst>
            </p:cNvPr>
            <p:cNvSpPr/>
            <p:nvPr/>
          </p:nvSpPr>
          <p:spPr>
            <a:xfrm>
              <a:off x="2453641" y="3541198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epare pilot launch activities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92C94D9A-62E9-41EB-96FC-F38AD7BA7A29}"/>
                </a:ext>
              </a:extLst>
            </p:cNvPr>
            <p:cNvSpPr/>
            <p:nvPr/>
          </p:nvSpPr>
          <p:spPr>
            <a:xfrm>
              <a:off x="2556730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Organise training on modular product sal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FC26283-C1CE-43D6-9174-136F22241951}"/>
                </a:ext>
              </a:extLst>
            </p:cNvPr>
            <p:cNvSpPr/>
            <p:nvPr/>
          </p:nvSpPr>
          <p:spPr>
            <a:xfrm>
              <a:off x="4627996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Monitor pilot results and decide on next steps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C3167A3-6DAC-4734-864A-550244A71884}"/>
                </a:ext>
              </a:extLst>
            </p:cNvPr>
            <p:cNvSpPr/>
            <p:nvPr/>
          </p:nvSpPr>
          <p:spPr>
            <a:xfrm>
              <a:off x="3973824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Hire new staff 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EACFA5-E359-47D6-A716-538D9F87CA17}"/>
                </a:ext>
              </a:extLst>
            </p:cNvPr>
            <p:cNvSpPr/>
            <p:nvPr/>
          </p:nvSpPr>
          <p:spPr>
            <a:xfrm>
              <a:off x="4124654" y="276372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epare scale up  of produc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B7E5E422-106D-44CC-A573-EAF48E2E2062}"/>
                </a:ext>
              </a:extLst>
            </p:cNvPr>
            <p:cNvSpPr/>
            <p:nvPr/>
          </p:nvSpPr>
          <p:spPr>
            <a:xfrm>
              <a:off x="1328867" y="121959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Collect and map customer needs &amp; pain points (input from sales) 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FBD2833-0311-42D8-88F9-A6EBB7A48517}"/>
                </a:ext>
              </a:extLst>
            </p:cNvPr>
            <p:cNvSpPr/>
            <p:nvPr/>
          </p:nvSpPr>
          <p:spPr>
            <a:xfrm>
              <a:off x="5098181" y="1226359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cale modular design for other product categori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48857454-4037-4A90-81A0-CCAE72EA4693}"/>
                </a:ext>
              </a:extLst>
            </p:cNvPr>
            <p:cNvSpPr/>
            <p:nvPr/>
          </p:nvSpPr>
          <p:spPr>
            <a:xfrm>
              <a:off x="1794130" y="3541198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articipate in sales training on modular product sale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8DC9102C-4605-431C-BE87-E0563F8FB928}"/>
                </a:ext>
              </a:extLst>
            </p:cNvPr>
            <p:cNvSpPr/>
            <p:nvPr/>
          </p:nvSpPr>
          <p:spPr>
            <a:xfrm>
              <a:off x="3970875" y="1225523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art designing service concept for new product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24E544E-0310-4219-8428-BB6DEDD89156}"/>
                </a:ext>
              </a:extLst>
            </p:cNvPr>
            <p:cNvSpPr/>
            <p:nvPr/>
          </p:nvSpPr>
          <p:spPr>
            <a:xfrm>
              <a:off x="6326491" y="122281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Finalise and validate service concept with customers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5DF6AFAD-6475-409E-8057-691F85E009CD}"/>
                </a:ext>
              </a:extLst>
            </p:cNvPr>
            <p:cNvSpPr/>
            <p:nvPr/>
          </p:nvSpPr>
          <p:spPr>
            <a:xfrm>
              <a:off x="7019791" y="121959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final service concept based on customer input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4AEEF99-E109-445B-A2AC-4D66AEEC6DBC}"/>
                </a:ext>
              </a:extLst>
            </p:cNvPr>
            <p:cNvSpPr/>
            <p:nvPr/>
          </p:nvSpPr>
          <p:spPr>
            <a:xfrm>
              <a:off x="2541994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stablish supplier agreement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1CEFB3A-A86F-4946-8406-85D377400DB7}"/>
                </a:ext>
              </a:extLst>
            </p:cNvPr>
            <p:cNvSpPr/>
            <p:nvPr/>
          </p:nvSpPr>
          <p:spPr>
            <a:xfrm>
              <a:off x="4199738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Engage with supplier to trigger changes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E50849F-5AF8-47D4-9DA6-C427AA6E18AA}"/>
                </a:ext>
              </a:extLst>
            </p:cNvPr>
            <p:cNvSpPr/>
            <p:nvPr/>
          </p:nvSpPr>
          <p:spPr>
            <a:xfrm>
              <a:off x="6987622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Implement continuous supplier scoring and engagement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9CF38794-953F-4048-B038-03CB86421E73}"/>
                </a:ext>
              </a:extLst>
            </p:cNvPr>
            <p:cNvSpPr/>
            <p:nvPr/>
          </p:nvSpPr>
          <p:spPr>
            <a:xfrm>
              <a:off x="4873480" y="276372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Implement required changes in production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6F99E50-954A-4845-BA17-8335BA736AFC}"/>
                </a:ext>
              </a:extLst>
            </p:cNvPr>
            <p:cNvSpPr/>
            <p:nvPr/>
          </p:nvSpPr>
          <p:spPr>
            <a:xfrm>
              <a:off x="3981035" y="3555472"/>
              <a:ext cx="60862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pricing models for new modular  offering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7E37612-173C-4646-805F-332097E8200B}"/>
                </a:ext>
              </a:extLst>
            </p:cNvPr>
            <p:cNvSpPr/>
            <p:nvPr/>
          </p:nvSpPr>
          <p:spPr>
            <a:xfrm>
              <a:off x="5280907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Launch new modular product categories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180F2F6-544A-4F2C-8CF1-8F4466A4FDF9}"/>
                </a:ext>
              </a:extLst>
            </p:cNvPr>
            <p:cNvSpPr/>
            <p:nvPr/>
          </p:nvSpPr>
          <p:spPr>
            <a:xfrm>
              <a:off x="6273251" y="3541198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velop pricing models for new service  offerings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AA869A9C-3AF7-408A-8E91-A10D24A507DB}"/>
                </a:ext>
              </a:extLst>
            </p:cNvPr>
            <p:cNvSpPr/>
            <p:nvPr/>
          </p:nvSpPr>
          <p:spPr>
            <a:xfrm>
              <a:off x="5478266" y="355143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mote new modular offerings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1DD5A50-EF00-411A-8B86-4CE839E97A4E}"/>
                </a:ext>
              </a:extLst>
            </p:cNvPr>
            <p:cNvSpPr/>
            <p:nvPr/>
          </p:nvSpPr>
          <p:spPr>
            <a:xfrm>
              <a:off x="7554979" y="3532041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epare service launch activities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02C906B-1E71-4DDA-BB98-D1C3CECF1D02}"/>
                </a:ext>
              </a:extLst>
            </p:cNvPr>
            <p:cNvSpPr/>
            <p:nvPr/>
          </p:nvSpPr>
          <p:spPr>
            <a:xfrm>
              <a:off x="8184112" y="3539419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omote new service offering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EDA71494-AA27-4B30-A2DE-BBA6A78DE026}"/>
                </a:ext>
              </a:extLst>
            </p:cNvPr>
            <p:cNvSpPr/>
            <p:nvPr/>
          </p:nvSpPr>
          <p:spPr>
            <a:xfrm>
              <a:off x="6157479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assess suppliers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3DCFB368-8F3A-4100-937C-CDCD28854F7B}"/>
                </a:ext>
              </a:extLst>
            </p:cNvPr>
            <p:cNvSpPr/>
            <p:nvPr/>
          </p:nvSpPr>
          <p:spPr>
            <a:xfrm>
              <a:off x="7506245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Launch service concept</a:t>
              </a: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B0485E7C-CB7F-4D60-BABE-9154B645A556}"/>
                </a:ext>
              </a:extLst>
            </p:cNvPr>
            <p:cNvSpPr/>
            <p:nvPr/>
          </p:nvSpPr>
          <p:spPr>
            <a:xfrm>
              <a:off x="6202021" y="431428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Organise training on service sales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022D8857-57EB-408F-91DF-5AC1DBBE9945}"/>
                </a:ext>
              </a:extLst>
            </p:cNvPr>
            <p:cNvSpPr/>
            <p:nvPr/>
          </p:nvSpPr>
          <p:spPr>
            <a:xfrm>
              <a:off x="6914947" y="3539419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articipate in training on service sales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56F6B470-E3FB-404E-94B6-08BCA5878EE6}"/>
                </a:ext>
              </a:extLst>
            </p:cNvPr>
            <p:cNvSpPr/>
            <p:nvPr/>
          </p:nvSpPr>
          <p:spPr>
            <a:xfrm>
              <a:off x="6844606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Hire new staff for service sales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2BFC7D65-42EB-4BEE-84FF-6195DC2D10AE}"/>
                </a:ext>
              </a:extLst>
            </p:cNvPr>
            <p:cNvSpPr/>
            <p:nvPr/>
          </p:nvSpPr>
          <p:spPr>
            <a:xfrm>
              <a:off x="2500206" y="2763724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creen and assess potential technology providers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644A96C-6DD8-4BC5-8790-AD643F855E36}"/>
                </a:ext>
              </a:extLst>
            </p:cNvPr>
            <p:cNvSpPr/>
            <p:nvPr/>
          </p:nvSpPr>
          <p:spPr>
            <a:xfrm>
              <a:off x="4727788" y="3555472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Screen technology partners for service concept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E49DCA52-3D46-4700-B3C4-B52523CD8338}"/>
                </a:ext>
              </a:extLst>
            </p:cNvPr>
            <p:cNvSpPr/>
            <p:nvPr/>
          </p:nvSpPr>
          <p:spPr>
            <a:xfrm>
              <a:off x="693146" y="4311580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Communicate transformation kick-off and define targets and incentives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A9C9C26-2D31-4E4F-8236-9CDB3AF6A1AF}"/>
                </a:ext>
              </a:extLst>
            </p:cNvPr>
            <p:cNvSpPr/>
            <p:nvPr/>
          </p:nvSpPr>
          <p:spPr>
            <a:xfrm>
              <a:off x="5354113" y="1953983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Change supplier base/ deselect supplier as required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17D4838-0364-4289-9D92-FB75BBA092D3}"/>
                </a:ext>
              </a:extLst>
            </p:cNvPr>
            <p:cNvSpPr/>
            <p:nvPr/>
          </p:nvSpPr>
          <p:spPr>
            <a:xfrm>
              <a:off x="3310953" y="1966015"/>
              <a:ext cx="568961" cy="4622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27000" tIns="34290" rIns="2700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form supplier assessment</a:t>
              </a:r>
            </a:p>
          </p:txBody>
        </p:sp>
      </p:grpSp>
      <p:sp>
        <p:nvSpPr>
          <p:cNvPr id="82" name="Speech Bubble: Rectangle with Corners Rounded 81">
            <a:extLst>
              <a:ext uri="{FF2B5EF4-FFF2-40B4-BE49-F238E27FC236}">
                <a16:creationId xmlns:a16="http://schemas.microsoft.com/office/drawing/2014/main" id="{A25A08EF-FFB2-43EB-A928-7DA099E23BB9}"/>
              </a:ext>
            </a:extLst>
          </p:cNvPr>
          <p:cNvSpPr/>
          <p:nvPr/>
        </p:nvSpPr>
        <p:spPr>
          <a:xfrm>
            <a:off x="9479758" y="2864486"/>
            <a:ext cx="1657066" cy="1640753"/>
          </a:xfrm>
          <a:prstGeom prst="wedgeRoundRectCallout">
            <a:avLst>
              <a:gd name="adj1" fmla="val -64426"/>
              <a:gd name="adj2" fmla="val -11531"/>
              <a:gd name="adj3" fmla="val 16667"/>
            </a:avLst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200" dirty="0">
                <a:solidFill>
                  <a:schemeClr val="bg2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llustrative example for </a:t>
            </a:r>
            <a:r>
              <a:rPr lang="en-GB" sz="1200" i="1" dirty="0">
                <a:solidFill>
                  <a:schemeClr val="bg2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ild to last </a:t>
            </a:r>
            <a:r>
              <a:rPr lang="en-GB" sz="1200" dirty="0">
                <a:solidFill>
                  <a:schemeClr val="bg2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siness model with consecutive development of </a:t>
            </a:r>
            <a:r>
              <a:rPr lang="en-GB" sz="1200" i="1" dirty="0">
                <a:solidFill>
                  <a:schemeClr val="bg2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pair &amp; Maintain</a:t>
            </a:r>
          </a:p>
        </p:txBody>
      </p:sp>
    </p:spTree>
    <p:extLst>
      <p:ext uri="{BB962C8B-B14F-4D97-AF65-F5344CB8AC3E}">
        <p14:creationId xmlns:p14="http://schemas.microsoft.com/office/powerpoint/2010/main" val="2985044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734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ROADMAP DEVELOPMEN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Tool</a:t>
            </a:r>
            <a:endParaRPr lang="en-GB" dirty="0"/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500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B97C4F6-B16D-4E57-899C-88CBDC7E8ACC}"/>
              </a:ext>
            </a:extLst>
          </p:cNvPr>
          <p:cNvSpPr txBox="1"/>
          <p:nvPr/>
        </p:nvSpPr>
        <p:spPr>
          <a:xfrm>
            <a:off x="431801" y="24713"/>
            <a:ext cx="11328393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Roadmap development – List of activities (1/2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82E727-2F7D-4104-B748-196DEE872400}"/>
              </a:ext>
            </a:extLst>
          </p:cNvPr>
          <p:cNvSpPr txBox="1"/>
          <p:nvPr/>
        </p:nvSpPr>
        <p:spPr>
          <a:xfrm>
            <a:off x="444558" y="2676735"/>
            <a:ext cx="164212" cy="1824964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apabil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F69EB1-44CE-4C84-8740-85BD3AC1431F}"/>
              </a:ext>
            </a:extLst>
          </p:cNvPr>
          <p:cNvSpPr txBox="1"/>
          <p:nvPr/>
        </p:nvSpPr>
        <p:spPr>
          <a:xfrm>
            <a:off x="444558" y="770230"/>
            <a:ext cx="164212" cy="1824964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Technolog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C088FA-739A-4A7D-89FF-D65EA82BFE8C}"/>
              </a:ext>
            </a:extLst>
          </p:cNvPr>
          <p:cNvSpPr txBox="1"/>
          <p:nvPr/>
        </p:nvSpPr>
        <p:spPr>
          <a:xfrm>
            <a:off x="444558" y="4583242"/>
            <a:ext cx="164212" cy="1824964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ultu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5732F4-2B54-42D3-A487-8DAABC39675D}"/>
              </a:ext>
            </a:extLst>
          </p:cNvPr>
          <p:cNvSpPr/>
          <p:nvPr/>
        </p:nvSpPr>
        <p:spPr>
          <a:xfrm>
            <a:off x="675502" y="770230"/>
            <a:ext cx="11084691" cy="182496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7B796C-EDB7-4BC6-8ED7-3C836FE607B2}"/>
              </a:ext>
            </a:extLst>
          </p:cNvPr>
          <p:cNvSpPr/>
          <p:nvPr/>
        </p:nvSpPr>
        <p:spPr>
          <a:xfrm>
            <a:off x="675500" y="2678678"/>
            <a:ext cx="11084691" cy="182496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FA591EC-E732-4C4A-BD35-DA9AEBCA649F}"/>
              </a:ext>
            </a:extLst>
          </p:cNvPr>
          <p:cNvSpPr/>
          <p:nvPr/>
        </p:nvSpPr>
        <p:spPr>
          <a:xfrm>
            <a:off x="675499" y="4587126"/>
            <a:ext cx="11084691" cy="182496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D85FA53-7D25-4AF8-A71C-68E4A3AA9788}"/>
              </a:ext>
            </a:extLst>
          </p:cNvPr>
          <p:cNvSpPr/>
          <p:nvPr/>
        </p:nvSpPr>
        <p:spPr>
          <a:xfrm>
            <a:off x="675496" y="378940"/>
            <a:ext cx="11084691" cy="34598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st key activities with estimate of required time (think about short- and long-term)</a:t>
            </a:r>
          </a:p>
        </p:txBody>
      </p:sp>
    </p:spTree>
    <p:extLst>
      <p:ext uri="{BB962C8B-B14F-4D97-AF65-F5344CB8AC3E}">
        <p14:creationId xmlns:p14="http://schemas.microsoft.com/office/powerpoint/2010/main" val="812935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B97C4F6-B16D-4E57-899C-88CBDC7E8ACC}"/>
              </a:ext>
            </a:extLst>
          </p:cNvPr>
          <p:cNvSpPr txBox="1"/>
          <p:nvPr/>
        </p:nvSpPr>
        <p:spPr>
          <a:xfrm>
            <a:off x="431801" y="24713"/>
            <a:ext cx="11328393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Roadmap development – List of activities (2/2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82E727-2F7D-4104-B748-196DEE872400}"/>
              </a:ext>
            </a:extLst>
          </p:cNvPr>
          <p:cNvSpPr txBox="1"/>
          <p:nvPr/>
        </p:nvSpPr>
        <p:spPr>
          <a:xfrm>
            <a:off x="444557" y="3653243"/>
            <a:ext cx="164212" cy="2755913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ina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1F69EB1-44CE-4C84-8740-85BD3AC1431F}"/>
              </a:ext>
            </a:extLst>
          </p:cNvPr>
          <p:cNvSpPr txBox="1"/>
          <p:nvPr/>
        </p:nvSpPr>
        <p:spPr>
          <a:xfrm>
            <a:off x="444557" y="774193"/>
            <a:ext cx="164212" cy="2755913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Ecosystem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5732F4-2B54-42D3-A487-8DAABC39675D}"/>
              </a:ext>
            </a:extLst>
          </p:cNvPr>
          <p:cNvSpPr/>
          <p:nvPr/>
        </p:nvSpPr>
        <p:spPr>
          <a:xfrm>
            <a:off x="675502" y="774193"/>
            <a:ext cx="11084692" cy="275591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7B796C-EDB7-4BC6-8ED7-3C836FE607B2}"/>
              </a:ext>
            </a:extLst>
          </p:cNvPr>
          <p:cNvSpPr/>
          <p:nvPr/>
        </p:nvSpPr>
        <p:spPr>
          <a:xfrm>
            <a:off x="675501" y="3656176"/>
            <a:ext cx="11084692" cy="275591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D85FA53-7D25-4AF8-A71C-68E4A3AA9788}"/>
              </a:ext>
            </a:extLst>
          </p:cNvPr>
          <p:cNvSpPr/>
          <p:nvPr/>
        </p:nvSpPr>
        <p:spPr>
          <a:xfrm>
            <a:off x="675497" y="378940"/>
            <a:ext cx="11084692" cy="345989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st key activities with estimate of required time (think about short- and long-term)</a:t>
            </a:r>
          </a:p>
        </p:txBody>
      </p:sp>
    </p:spTree>
    <p:extLst>
      <p:ext uri="{BB962C8B-B14F-4D97-AF65-F5344CB8AC3E}">
        <p14:creationId xmlns:p14="http://schemas.microsoft.com/office/powerpoint/2010/main" val="1702193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D0E2CEEB-E0F2-47FA-8DEC-A40D843E1B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837499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D0E2CEEB-E0F2-47FA-8DEC-A40D843E1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DCE0EA7A-7B7D-49DB-8F5A-B23E44412DFE}"/>
              </a:ext>
            </a:extLst>
          </p:cNvPr>
          <p:cNvSpPr txBox="1"/>
          <p:nvPr/>
        </p:nvSpPr>
        <p:spPr>
          <a:xfrm>
            <a:off x="3347126" y="6527122"/>
            <a:ext cx="1802295" cy="187897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1288E96-5450-43A9-A189-5D9C6332A4C8}"/>
              </a:ext>
            </a:extLst>
          </p:cNvPr>
          <p:cNvSpPr txBox="1"/>
          <p:nvPr/>
        </p:nvSpPr>
        <p:spPr>
          <a:xfrm>
            <a:off x="431801" y="24714"/>
            <a:ext cx="10680787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Roadmap development – Responsibilities and timing</a:t>
            </a:r>
          </a:p>
        </p:txBody>
      </p:sp>
      <p:cxnSp>
        <p:nvCxnSpPr>
          <p:cNvPr id="38" name="Straight Arrow Connector 73">
            <a:extLst>
              <a:ext uri="{FF2B5EF4-FFF2-40B4-BE49-F238E27FC236}">
                <a16:creationId xmlns:a16="http://schemas.microsoft.com/office/drawing/2014/main" id="{2EE9F236-88AA-4650-A32D-FD2FD605DAC6}"/>
              </a:ext>
            </a:extLst>
          </p:cNvPr>
          <p:cNvCxnSpPr>
            <a:cxnSpLocks/>
          </p:cNvCxnSpPr>
          <p:nvPr/>
        </p:nvCxnSpPr>
        <p:spPr>
          <a:xfrm flipV="1">
            <a:off x="862096" y="1233760"/>
            <a:ext cx="10871009" cy="25514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: Top Corners Rounded 40">
            <a:extLst>
              <a:ext uri="{FF2B5EF4-FFF2-40B4-BE49-F238E27FC236}">
                <a16:creationId xmlns:a16="http://schemas.microsoft.com/office/drawing/2014/main" id="{6A063522-3454-4E27-A43F-4A71D6A9891A}"/>
              </a:ext>
            </a:extLst>
          </p:cNvPr>
          <p:cNvSpPr/>
          <p:nvPr/>
        </p:nvSpPr>
        <p:spPr>
          <a:xfrm>
            <a:off x="4238947" y="393895"/>
            <a:ext cx="3874696" cy="576619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II. Attract &amp; Win</a:t>
            </a:r>
          </a:p>
        </p:txBody>
      </p:sp>
      <p:sp>
        <p:nvSpPr>
          <p:cNvPr id="7" name="Rectangle: Top Corners Rounded 41">
            <a:extLst>
              <a:ext uri="{FF2B5EF4-FFF2-40B4-BE49-F238E27FC236}">
                <a16:creationId xmlns:a16="http://schemas.microsoft.com/office/drawing/2014/main" id="{FA31AFE1-09C7-4A4F-BE9E-B9DF05C90BAA}"/>
              </a:ext>
            </a:extLst>
          </p:cNvPr>
          <p:cNvSpPr/>
          <p:nvPr/>
        </p:nvSpPr>
        <p:spPr>
          <a:xfrm>
            <a:off x="8157628" y="393895"/>
            <a:ext cx="3602573" cy="576619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III. Scale fast &amp; keep growing</a:t>
            </a:r>
          </a:p>
        </p:txBody>
      </p:sp>
      <p:sp>
        <p:nvSpPr>
          <p:cNvPr id="9" name="Rectangle 30">
            <a:extLst>
              <a:ext uri="{FF2B5EF4-FFF2-40B4-BE49-F238E27FC236}">
                <a16:creationId xmlns:a16="http://schemas.microsoft.com/office/drawing/2014/main" id="{C2B7C1C8-5486-4DCD-9F49-9308430C587E}"/>
              </a:ext>
            </a:extLst>
          </p:cNvPr>
          <p:cNvSpPr/>
          <p:nvPr/>
        </p:nvSpPr>
        <p:spPr>
          <a:xfrm>
            <a:off x="856087" y="1430235"/>
            <a:ext cx="10877016" cy="93820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0" name="Rectangle 32">
            <a:extLst>
              <a:ext uri="{FF2B5EF4-FFF2-40B4-BE49-F238E27FC236}">
                <a16:creationId xmlns:a16="http://schemas.microsoft.com/office/drawing/2014/main" id="{A6854EB0-17F0-4F4C-8EA4-686AB27F3271}"/>
              </a:ext>
            </a:extLst>
          </p:cNvPr>
          <p:cNvSpPr/>
          <p:nvPr/>
        </p:nvSpPr>
        <p:spPr>
          <a:xfrm>
            <a:off x="856087" y="2438631"/>
            <a:ext cx="10877016" cy="93820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1" name="Rectangle 33">
            <a:extLst>
              <a:ext uri="{FF2B5EF4-FFF2-40B4-BE49-F238E27FC236}">
                <a16:creationId xmlns:a16="http://schemas.microsoft.com/office/drawing/2014/main" id="{5C40DB8B-D38F-4F6D-99CC-489E9B406179}"/>
              </a:ext>
            </a:extLst>
          </p:cNvPr>
          <p:cNvSpPr/>
          <p:nvPr/>
        </p:nvSpPr>
        <p:spPr>
          <a:xfrm>
            <a:off x="856087" y="3447027"/>
            <a:ext cx="10877016" cy="93820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18" name="TextBox 23">
            <a:extLst>
              <a:ext uri="{FF2B5EF4-FFF2-40B4-BE49-F238E27FC236}">
                <a16:creationId xmlns:a16="http://schemas.microsoft.com/office/drawing/2014/main" id="{E74E7C84-66FB-48B2-8410-0CD862EABAD2}"/>
              </a:ext>
            </a:extLst>
          </p:cNvPr>
          <p:cNvSpPr txBox="1"/>
          <p:nvPr/>
        </p:nvSpPr>
        <p:spPr>
          <a:xfrm>
            <a:off x="4248272" y="609569"/>
            <a:ext cx="3874696" cy="36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evelop processes and partnerships and pilot new solution to convey benefits </a:t>
            </a:r>
          </a:p>
        </p:txBody>
      </p:sp>
      <p:sp>
        <p:nvSpPr>
          <p:cNvPr id="19" name="TextBox 24">
            <a:extLst>
              <a:ext uri="{FF2B5EF4-FFF2-40B4-BE49-F238E27FC236}">
                <a16:creationId xmlns:a16="http://schemas.microsoft.com/office/drawing/2014/main" id="{4512FA24-403C-49A9-9DCB-9511A64676BB}"/>
              </a:ext>
            </a:extLst>
          </p:cNvPr>
          <p:cNvSpPr txBox="1"/>
          <p:nvPr/>
        </p:nvSpPr>
        <p:spPr>
          <a:xfrm>
            <a:off x="8157628" y="609569"/>
            <a:ext cx="3602573" cy="36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dopt multiple circular business models across own operations and value chain</a:t>
            </a:r>
          </a:p>
        </p:txBody>
      </p:sp>
      <p:sp>
        <p:nvSpPr>
          <p:cNvPr id="22" name="Rectangle 33">
            <a:extLst>
              <a:ext uri="{FF2B5EF4-FFF2-40B4-BE49-F238E27FC236}">
                <a16:creationId xmlns:a16="http://schemas.microsoft.com/office/drawing/2014/main" id="{85B81436-B1A5-44E7-B4D9-83859DB1135C}"/>
              </a:ext>
            </a:extLst>
          </p:cNvPr>
          <p:cNvSpPr/>
          <p:nvPr/>
        </p:nvSpPr>
        <p:spPr>
          <a:xfrm>
            <a:off x="856087" y="4455423"/>
            <a:ext cx="10877016" cy="93820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23" name="Rectangle 33">
            <a:extLst>
              <a:ext uri="{FF2B5EF4-FFF2-40B4-BE49-F238E27FC236}">
                <a16:creationId xmlns:a16="http://schemas.microsoft.com/office/drawing/2014/main" id="{A9D41802-ECE6-483B-9E8E-5FFF35BFDFAD}"/>
              </a:ext>
            </a:extLst>
          </p:cNvPr>
          <p:cNvSpPr/>
          <p:nvPr/>
        </p:nvSpPr>
        <p:spPr>
          <a:xfrm>
            <a:off x="856087" y="5463817"/>
            <a:ext cx="10877016" cy="938203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33" b="0" i="0" u="none" strike="noStrike" kern="1200" cap="none" spc="0" normalizeH="0" baseline="0" noProof="0" dirty="0">
              <a:ln w="0"/>
              <a:solidFill>
                <a:srgbClr val="367A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90F29C9-5D13-4104-A00C-8832FACA14C3}"/>
              </a:ext>
            </a:extLst>
          </p:cNvPr>
          <p:cNvSpPr/>
          <p:nvPr/>
        </p:nvSpPr>
        <p:spPr>
          <a:xfrm>
            <a:off x="3721049" y="1176631"/>
            <a:ext cx="1024457" cy="18218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15B166D-4877-4008-92B7-11039FC8366F}"/>
              </a:ext>
            </a:extLst>
          </p:cNvPr>
          <p:cNvSpPr/>
          <p:nvPr/>
        </p:nvSpPr>
        <p:spPr>
          <a:xfrm>
            <a:off x="7628693" y="1176631"/>
            <a:ext cx="1022400" cy="182182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</a:t>
            </a:r>
          </a:p>
        </p:txBody>
      </p:sp>
      <p:sp>
        <p:nvSpPr>
          <p:cNvPr id="39" name="Rectangle 71">
            <a:extLst>
              <a:ext uri="{FF2B5EF4-FFF2-40B4-BE49-F238E27FC236}">
                <a16:creationId xmlns:a16="http://schemas.microsoft.com/office/drawing/2014/main" id="{119BA4D9-B8F3-4735-BDB6-2A9946DBD854}"/>
              </a:ext>
            </a:extLst>
          </p:cNvPr>
          <p:cNvSpPr/>
          <p:nvPr/>
        </p:nvSpPr>
        <p:spPr>
          <a:xfrm>
            <a:off x="11112588" y="1014656"/>
            <a:ext cx="456010" cy="160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48000" tIns="0" rIns="48000" bIns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Tim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3081600-DD2C-4E5E-A3F7-AFF0E880EE09}"/>
              </a:ext>
            </a:extLst>
          </p:cNvPr>
          <p:cNvSpPr txBox="1"/>
          <p:nvPr/>
        </p:nvSpPr>
        <p:spPr>
          <a:xfrm>
            <a:off x="219471" y="2438631"/>
            <a:ext cx="521429" cy="938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unction 2: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80500C7-054C-49EE-8819-9F744BD5F82F}"/>
              </a:ext>
            </a:extLst>
          </p:cNvPr>
          <p:cNvSpPr txBox="1"/>
          <p:nvPr/>
        </p:nvSpPr>
        <p:spPr>
          <a:xfrm>
            <a:off x="219471" y="3447027"/>
            <a:ext cx="521429" cy="938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unction 3: 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</a:endParaRPr>
          </a:p>
        </p:txBody>
      </p:sp>
      <p:sp>
        <p:nvSpPr>
          <p:cNvPr id="52" name="TextBox 6">
            <a:extLst>
              <a:ext uri="{FF2B5EF4-FFF2-40B4-BE49-F238E27FC236}">
                <a16:creationId xmlns:a16="http://schemas.microsoft.com/office/drawing/2014/main" id="{7C2BEF15-D897-4A1E-B8A9-A8547DCBA68A}"/>
              </a:ext>
            </a:extLst>
          </p:cNvPr>
          <p:cNvSpPr txBox="1"/>
          <p:nvPr/>
        </p:nvSpPr>
        <p:spPr>
          <a:xfrm>
            <a:off x="219471" y="4455423"/>
            <a:ext cx="521429" cy="938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unction 4: </a:t>
            </a:r>
          </a:p>
        </p:txBody>
      </p:sp>
      <p:sp>
        <p:nvSpPr>
          <p:cNvPr id="53" name="TextBox 6">
            <a:extLst>
              <a:ext uri="{FF2B5EF4-FFF2-40B4-BE49-F238E27FC236}">
                <a16:creationId xmlns:a16="http://schemas.microsoft.com/office/drawing/2014/main" id="{64224B45-7506-4E7D-90C3-4D19862BB153}"/>
              </a:ext>
            </a:extLst>
          </p:cNvPr>
          <p:cNvSpPr txBox="1"/>
          <p:nvPr/>
        </p:nvSpPr>
        <p:spPr>
          <a:xfrm>
            <a:off x="219471" y="5463817"/>
            <a:ext cx="521429" cy="938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unction 5: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4A0929D-19D1-47CF-92BD-8B7CF9241B6C}"/>
              </a:ext>
            </a:extLst>
          </p:cNvPr>
          <p:cNvSpPr txBox="1"/>
          <p:nvPr/>
        </p:nvSpPr>
        <p:spPr>
          <a:xfrm>
            <a:off x="219471" y="1430235"/>
            <a:ext cx="521429" cy="938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01104" algn="l"/>
              </a:tabLst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Function 1: </a:t>
            </a:r>
          </a:p>
        </p:txBody>
      </p:sp>
      <p:sp>
        <p:nvSpPr>
          <p:cNvPr id="33" name="TextBox 6">
            <a:extLst>
              <a:ext uri="{FF2B5EF4-FFF2-40B4-BE49-F238E27FC236}">
                <a16:creationId xmlns:a16="http://schemas.microsoft.com/office/drawing/2014/main" id="{17C13D1D-27A0-4CE5-911F-828282534A9D}"/>
              </a:ext>
            </a:extLst>
          </p:cNvPr>
          <p:cNvSpPr txBox="1"/>
          <p:nvPr/>
        </p:nvSpPr>
        <p:spPr>
          <a:xfrm rot="5400000">
            <a:off x="695006" y="409544"/>
            <a:ext cx="461665" cy="1589172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efine your timeline– depending on the pace you choose</a:t>
            </a:r>
          </a:p>
        </p:txBody>
      </p:sp>
      <p:sp>
        <p:nvSpPr>
          <p:cNvPr id="8" name="Rectangle: Top Corners Rounded 39">
            <a:extLst>
              <a:ext uri="{FF2B5EF4-FFF2-40B4-BE49-F238E27FC236}">
                <a16:creationId xmlns:a16="http://schemas.microsoft.com/office/drawing/2014/main" id="{9578C01B-5ADD-42A5-91A7-737483E79381}"/>
              </a:ext>
            </a:extLst>
          </p:cNvPr>
          <p:cNvSpPr/>
          <p:nvPr/>
        </p:nvSpPr>
        <p:spPr>
          <a:xfrm>
            <a:off x="889193" y="393895"/>
            <a:ext cx="3286993" cy="576619"/>
          </a:xfrm>
          <a:prstGeom prst="round2Same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I. Explore &amp; Shape</a:t>
            </a:r>
          </a:p>
        </p:txBody>
      </p:sp>
      <p:sp>
        <p:nvSpPr>
          <p:cNvPr id="17" name="TextBox 22">
            <a:extLst>
              <a:ext uri="{FF2B5EF4-FFF2-40B4-BE49-F238E27FC236}">
                <a16:creationId xmlns:a16="http://schemas.microsoft.com/office/drawing/2014/main" id="{56654B41-9773-43EE-AEAA-42BC02DD1FA3}"/>
              </a:ext>
            </a:extLst>
          </p:cNvPr>
          <p:cNvSpPr txBox="1"/>
          <p:nvPr/>
        </p:nvSpPr>
        <p:spPr>
          <a:xfrm>
            <a:off x="882019" y="609569"/>
            <a:ext cx="3305772" cy="3609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evelop concepts for target business models, look for partners, design and test prototype(s) </a:t>
            </a:r>
          </a:p>
        </p:txBody>
      </p:sp>
      <p:cxnSp>
        <p:nvCxnSpPr>
          <p:cNvPr id="15" name="Straight Connector 7">
            <a:extLst>
              <a:ext uri="{FF2B5EF4-FFF2-40B4-BE49-F238E27FC236}">
                <a16:creationId xmlns:a16="http://schemas.microsoft.com/office/drawing/2014/main" id="{33F49423-83D5-47BA-BD54-BC1C2CFE4B49}"/>
              </a:ext>
            </a:extLst>
          </p:cNvPr>
          <p:cNvCxnSpPr>
            <a:cxnSpLocks/>
          </p:cNvCxnSpPr>
          <p:nvPr/>
        </p:nvCxnSpPr>
        <p:spPr>
          <a:xfrm>
            <a:off x="4216533" y="1401737"/>
            <a:ext cx="0" cy="5019383"/>
          </a:xfrm>
          <a:prstGeom prst="line">
            <a:avLst/>
          </a:prstGeom>
          <a:ln w="31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8">
            <a:extLst>
              <a:ext uri="{FF2B5EF4-FFF2-40B4-BE49-F238E27FC236}">
                <a16:creationId xmlns:a16="http://schemas.microsoft.com/office/drawing/2014/main" id="{DA6AF223-AF5A-4AFD-A06F-DC1189DC7A7D}"/>
              </a:ext>
            </a:extLst>
          </p:cNvPr>
          <p:cNvCxnSpPr>
            <a:cxnSpLocks/>
          </p:cNvCxnSpPr>
          <p:nvPr/>
        </p:nvCxnSpPr>
        <p:spPr>
          <a:xfrm>
            <a:off x="8140297" y="1401737"/>
            <a:ext cx="0" cy="5019383"/>
          </a:xfrm>
          <a:prstGeom prst="line">
            <a:avLst/>
          </a:prstGeom>
          <a:ln w="3175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9438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fCTBvFQ.Wyvx_93AtP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fApSfeSFqLwiih8PcQ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2RE7DvTYakPP0Z2kUT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.Bto9GQpCdOOwbNqWm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evSHMGRUSibMzfbfq4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DQPaueR7GCZ2D_tFQJ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_bHVZQyOim7G9pGFO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170iFGTE.KyxW7R4Gh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1oKzZjQ_eVpi9QXJUG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MXmZGFSTGwSaB0l8Lk3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8JZWENTdSs7RdVxNS0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0vHX7Q2yz46wqk0A_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FsLIO5R7aV7Ce0rXSe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h95s8aSTyJoV7tNu_k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s2haHOTDSmLnCC4.Q0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Du0MvT1WdaiAuTl57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K.M5NFSd.YiJc3L6om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zfYNYRTcCB7SxcInsN8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DcJzMnScaozPT32_4Z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jQ3cHSqa3SktCccCP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tSQddKSjClGS1CEElm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LibPZbSB2pEC.Xffjh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3n9BnVRa.KdEx9r0V6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vgmrRQTVa__423qAxS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nj3LZSj2JXuLxSJuU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bHTCjqTfmmiqnBUeyB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.JF8MNQ7axk0FsAfIiZ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.KvCIQT4mIndXjQxpU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_1kE3MQO.AbXw6nCVIj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3.xml><?xml version="1.0" encoding="utf-8"?>
<a:theme xmlns:a="http://schemas.openxmlformats.org/drawingml/2006/main" name="5_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4.xml><?xml version="1.0" encoding="utf-8"?>
<a:theme xmlns:a="http://schemas.openxmlformats.org/drawingml/2006/main" name="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7B3F0D7619E374C813C42EDF56956BB" ma:contentTypeVersion="12" ma:contentTypeDescription="Luo uusi asiakirja." ma:contentTypeScope="" ma:versionID="40f876a39a506c238ad4cab9614f6c6f">
  <xsd:schema xmlns:xsd="http://www.w3.org/2001/XMLSchema" xmlns:xs="http://www.w3.org/2001/XMLSchema" xmlns:p="http://schemas.microsoft.com/office/2006/metadata/properties" xmlns:ns2="54b26aad-a0f2-4e8e-9033-8cb316f00d3c" xmlns:ns3="86180d94-988f-4b84-ac13-063f09c9db95" targetNamespace="http://schemas.microsoft.com/office/2006/metadata/properties" ma:root="true" ma:fieldsID="68241eca2701d1e2c7c068d8f97ac532" ns2:_="" ns3:_="">
    <xsd:import namespace="54b26aad-a0f2-4e8e-9033-8cb316f00d3c"/>
    <xsd:import namespace="86180d94-988f-4b84-ac13-063f09c9db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26aad-a0f2-4e8e-9033-8cb316f00d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80d94-988f-4b84-ac13-063f09c9db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12F340C-23F0-47B1-98F9-CD1A34D219AE}"/>
</file>

<file path=customXml/itemProps2.xml><?xml version="1.0" encoding="utf-8"?>
<ds:datastoreItem xmlns:ds="http://schemas.openxmlformats.org/officeDocument/2006/customXml" ds:itemID="{78FDA8AE-E957-4F83-B72F-5C9433B40CAD}"/>
</file>

<file path=customXml/itemProps3.xml><?xml version="1.0" encoding="utf-8"?>
<ds:datastoreItem xmlns:ds="http://schemas.openxmlformats.org/officeDocument/2006/customXml" ds:itemID="{52566B57-97A8-4DD7-9197-E97BCF7A3AA5}"/>
</file>

<file path=docProps/app.xml><?xml version="1.0" encoding="utf-8"?>
<Properties xmlns="http://schemas.openxmlformats.org/officeDocument/2006/extended-properties" xmlns:vt="http://schemas.openxmlformats.org/officeDocument/2006/docPropsVTypes">
  <TotalTime>113</TotalTime>
  <Words>716</Words>
  <Application>Microsoft Office PowerPoint</Application>
  <PresentationFormat>Widescreen</PresentationFormat>
  <Paragraphs>12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Calibri</vt:lpstr>
      <vt:lpstr>Calibri Light</vt:lpstr>
      <vt:lpstr>Georgia</vt:lpstr>
      <vt:lpstr>Times New Roman</vt:lpstr>
      <vt:lpstr>Verdana</vt:lpstr>
      <vt:lpstr>Office Theme</vt:lpstr>
      <vt:lpstr>Sitra theme</vt:lpstr>
      <vt:lpstr>5_Sitra theme</vt:lpstr>
      <vt:lpstr>Sitra_May 2018</vt:lpstr>
      <vt:lpstr>think-cell Slide</vt:lpstr>
      <vt:lpstr>ROADMAP DEVELOPMENT</vt:lpstr>
      <vt:lpstr>Roadmap development</vt:lpstr>
      <vt:lpstr>Roadmap development</vt:lpstr>
      <vt:lpstr>ROADMAP DEVELOPMENT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onen, Sara</dc:creator>
  <cp:lastModifiedBy>Reponen, Sara</cp:lastModifiedBy>
  <cp:revision>6</cp:revision>
  <dcterms:created xsi:type="dcterms:W3CDTF">2018-06-07T07:26:40Z</dcterms:created>
  <dcterms:modified xsi:type="dcterms:W3CDTF">2018-06-28T11:3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B3F0D7619E374C813C42EDF56956BB</vt:lpwstr>
  </property>
</Properties>
</file>